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424" r:id="rId2"/>
    <p:sldId id="2378" r:id="rId3"/>
    <p:sldId id="2425" r:id="rId4"/>
    <p:sldId id="242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90576E-838C-4EE3-9C5C-72A51A9081CA}" v="2" dt="2026-03-17T17:40:32.6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257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4663736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2401677"/>
            <a:ext cx="735893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62706" y="6081408"/>
            <a:ext cx="11445458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1266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Multimedia Slid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B9C91F6-19A4-60D8-C2FA-A0CB4D8E4B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52610"/>
            <a:ext cx="11338560" cy="43402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416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5" y="3868738"/>
            <a:ext cx="10628960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5163312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One Icon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41F8632-57B2-5648-DB17-D31A1B2360BD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2" y="4401689"/>
            <a:ext cx="1062895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20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4977306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0182" y="3865340"/>
            <a:ext cx="4977308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798614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234047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Two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6C14E0A-FF23-51E3-9DFF-15FEF58154A7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0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ADC5170-75F4-51FC-412C-B1A10CBA2C2D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430181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8667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Three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5E607CF-7910-12BC-6C4E-638DE184539B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EAB7BC15-283C-76D1-D94B-9B00A084DD4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443684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8C38E2C0-FE94-07B5-BE55-E2EE5CF2D038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75761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049321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FE4E1-3388-5ACB-7650-0E26E3468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VERTICAL LI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E94348-AFAD-F88C-9054-6A6165BBAF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B0F2177-8333-9201-87A4-C9215311B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03860" y="1486173"/>
            <a:ext cx="2738482" cy="661987"/>
          </a:xfrm>
        </p:spPr>
        <p:txBody>
          <a:bodyPr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FEAF28F-78B4-B6EF-BD99-8412684CD6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3860" y="239522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80B912B-E60C-F762-28E1-AE422AAEDB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3860" y="332740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E2A2DBD-3835-67C1-E774-A198D35AB9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03860" y="4252887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CA19730-6879-0947-905D-D3BB8565C2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03860" y="517837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7372EE8-9B02-A6A1-4A34-8CB0D60E77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1777" y="1486173"/>
            <a:ext cx="6983152" cy="661987"/>
          </a:xfrm>
        </p:spPr>
        <p:txBody>
          <a:bodyPr anchor="ctr"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7D520B24-367F-0DDE-83F4-4DC71E9474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51777" y="239522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0ACA517B-F372-66FF-9DE0-25278FFD7E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1777" y="332740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3FBA1BBF-F7E2-3DBD-5A44-B259A8540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1776" y="4252887"/>
            <a:ext cx="6983151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5F4AA2E-E3D4-41D3-15C5-8625537798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1777" y="5178372"/>
            <a:ext cx="6983150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</p:spTree>
    <p:extLst>
      <p:ext uri="{BB962C8B-B14F-4D97-AF65-F5344CB8AC3E}">
        <p14:creationId xmlns:p14="http://schemas.microsoft.com/office/powerpoint/2010/main" val="22757831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500322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2230" y="3156332"/>
            <a:ext cx="50032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2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759933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848375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2" y="3734719"/>
            <a:ext cx="5003222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442231" y="3734719"/>
            <a:ext cx="5003220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42269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333548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70741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09659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3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054374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569306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453118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3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370741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109659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24501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2446819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69128" y="3156332"/>
            <a:ext cx="2446820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23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4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1481731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70168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7900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4" y="3734719"/>
            <a:ext cx="2446817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4691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2423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Orange title 3">
            <a:extLst>
              <a:ext uri="{FF2B5EF4-FFF2-40B4-BE49-F238E27FC236}">
                <a16:creationId xmlns:a16="http://schemas.microsoft.com/office/drawing/2014/main" id="{F8F37FF3-3142-3683-BB46-FD4068D77F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155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AE1CACD6-0E21-B34E-6BED-535136B02DF3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0155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57F8269-FA02-C7B4-0924-0D0D2C751922}"/>
              </a:ext>
            </a:extLst>
          </p:cNvPr>
          <p:cNvSpPr/>
          <p:nvPr userDrawn="1"/>
        </p:nvSpPr>
        <p:spPr>
          <a:xfrm>
            <a:off x="4232448" y="163180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40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-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01FF2-876E-A64A-BEBE-DD905BF64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0"/>
            <a:ext cx="11341100" cy="1078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88C2EF-BB40-0E43-9E11-05E69EBD5A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99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0EFADB-B118-EB46-B2E3-A04C0D9437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294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A67E33-C5D4-A74F-BE26-69259B9FA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1826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F3237-B786-E348-B12F-E7662E441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0"/>
            <a:ext cx="11366500" cy="1078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6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16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585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418640"/>
            <a:ext cx="11314324" cy="3314005"/>
          </a:xfrm>
        </p:spPr>
        <p:txBody>
          <a:bodyPr anchor="ctr"/>
          <a:lstStyle>
            <a:lvl1pPr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62706" y="6081408"/>
            <a:ext cx="11314325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239542C0-05CC-07FD-FDFD-45D8A9C8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1168" y="3671268"/>
            <a:ext cx="3877768" cy="241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4207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5540E7-9486-578A-551E-366C8056E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104391" y="704008"/>
            <a:ext cx="8011450" cy="49793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5FD98F-748F-DB45-A42B-08A1C540C53F}"/>
              </a:ext>
            </a:extLst>
          </p:cNvPr>
          <p:cNvSpPr txBox="1"/>
          <p:nvPr userDrawn="1"/>
        </p:nvSpPr>
        <p:spPr>
          <a:xfrm>
            <a:off x="6907239" y="4719015"/>
            <a:ext cx="3305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-150" dirty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8611464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04391" y="704008"/>
            <a:ext cx="8011451" cy="497933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907239" y="4719015"/>
            <a:ext cx="3305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-150" dirty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28944195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157116" y="3973690"/>
            <a:ext cx="3877767" cy="24101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216332" y="5898022"/>
            <a:ext cx="18581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spc="0" dirty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2503361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57116" y="3973690"/>
            <a:ext cx="3877768" cy="24101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176706" y="5898022"/>
            <a:ext cx="18581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spc="0" dirty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295399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BDCC61-B9D6-D68C-215C-465D5B1EF9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279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1312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2911450"/>
            <a:ext cx="589280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9" y="4654865"/>
            <a:ext cx="589280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8" y="5195464"/>
            <a:ext cx="5892800" cy="38670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3C8D4C-2C59-B708-E0D1-232B9FB6E4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787788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99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/Pre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28765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535256" y="483907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2192" y="464858"/>
            <a:ext cx="7358930" cy="2164042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Introduction/ Prefac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42192" y="3093765"/>
            <a:ext cx="7358930" cy="28098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186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1134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6535" y="-7"/>
            <a:ext cx="7358930" cy="954367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ontents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416535" y="1562581"/>
            <a:ext cx="7358930" cy="434105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21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1804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1525856" y="2218275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847" y="2069176"/>
            <a:ext cx="7358930" cy="2605497"/>
          </a:xfrm>
        </p:spPr>
        <p:txBody>
          <a:bodyPr/>
          <a:lstStyle>
            <a:lvl1pPr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15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858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FA46D8F-B440-E6A5-259A-83D6CA5AD8A3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100" y="762924"/>
            <a:ext cx="10645799" cy="5332141"/>
          </a:xfrm>
        </p:spPr>
        <p:txBody>
          <a:bodyPr anchor="ctr"/>
          <a:lstStyle>
            <a:lvl1pPr algn="ctr"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12642B-675C-7DE1-4488-91874ACAA2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309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7627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3625" y="3153569"/>
            <a:ext cx="5667375" cy="3017457"/>
          </a:xfrm>
        </p:spPr>
        <p:txBody>
          <a:bodyPr anchor="t"/>
          <a:lstStyle>
            <a:lvl1pPr algn="l"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C50BB4F-171F-D597-7B63-B8CF4EBC6166}"/>
              </a:ext>
            </a:extLst>
          </p:cNvPr>
          <p:cNvSpPr/>
          <p:nvPr userDrawn="1"/>
        </p:nvSpPr>
        <p:spPr>
          <a:xfrm>
            <a:off x="361312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663189-B689-FA7E-C80E-C085E30F51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846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9D0C7-EB8D-AB4F-849C-A73E2AB3D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11341100" cy="10789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err="1"/>
              <a:t>TexT</a:t>
            </a:r>
            <a:r>
              <a:rPr lang="en-US" dirty="0"/>
              <a:t> Sl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B6CE22-FB8D-D242-AFD3-862C54D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B114FE-8B7D-E146-A724-04992485DD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1341100" cy="4588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4455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6FCDA1-B2C5-6548-B895-AF1321DBA8F4}"/>
              </a:ext>
            </a:extLst>
          </p:cNvPr>
          <p:cNvSpPr/>
          <p:nvPr userDrawn="1"/>
        </p:nvSpPr>
        <p:spPr>
          <a:xfrm>
            <a:off x="0" y="6075776"/>
            <a:ext cx="12192000" cy="782224"/>
          </a:xfrm>
          <a:prstGeom prst="rect">
            <a:avLst/>
          </a:prstGeom>
          <a:solidFill>
            <a:srgbClr val="FFCF3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D2554F3-216C-4D96-9700-4167C9A7EB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7200" y="0"/>
            <a:ext cx="1133856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6BD98C-B571-43D4-81FF-2F456DCE5E2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7200" y="1371600"/>
            <a:ext cx="11338560" cy="45188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80C12F-0958-4626-AFCF-E12503C134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87ED32-77BF-4841-8205-C14A8F512EE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CB2B45-2C05-4CEF-931C-2D0342C698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F885B5E-952E-43E0-BDDE-E27C1CE5B9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CB42A18-D288-4E38-919E-67D261C0532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7EDCAB2-1643-4DA5-A90B-8DA02D0430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FFD0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FF2C9F-58DC-F4A5-1EAA-9BE9D631D26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B91CC4A-0A62-8CE4-DF57-654BF9865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5520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0" i="0" kern="1200" cap="all" baseline="0" dirty="0">
          <a:solidFill>
            <a:schemeClr val="bg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Clr>
          <a:srgbClr val="FFD030"/>
        </a:buClr>
        <a:buFont typeface="Wingdings" panose="05000000000000000000" pitchFamily="2" charset="2"/>
        <a:buChar char="§"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39825" indent="-225425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Wingdings" panose="05000000000000000000" pitchFamily="2" charset="2"/>
        <a:buChar char="§"/>
        <a:defRPr sz="20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–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y.gov/health_care/medicaid/program/doula/overview.htm" TargetMode="External"/><Relationship Id="rId2" Type="http://schemas.openxmlformats.org/officeDocument/2006/relationships/hyperlink" Target="https://www.emedny.org/info/ProviderEnrollment/ProviderMaintForms/VisualizationEnrollmentPathways.pdf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medny.org/info/ProviderEnrollment/ProviderMaintForms/Doula_Enrollment_Instructions.pdf" TargetMode="External"/><Relationship Id="rId3" Type="http://schemas.openxmlformats.org/officeDocument/2006/relationships/hyperlink" Target="https://www.emedny.org/ProviderManuals/Doula/" TargetMode="External"/><Relationship Id="rId7" Type="http://schemas.openxmlformats.org/officeDocument/2006/relationships/hyperlink" Target="https://www.emedny.org/info/ProviderEnrollment/ProviderMaintForms/436801_PRACT_FORM_PractionerEnrlForm.pdf" TargetMode="External"/><Relationship Id="rId12" Type="http://schemas.openxmlformats.org/officeDocument/2006/relationships/image" Target="../media/image5.png"/><Relationship Id="rId2" Type="http://schemas.openxmlformats.org/officeDocument/2006/relationships/hyperlink" Target="https://www.health.ny.gov/health_care/medicaid/program/doula/index.htm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emedny.org/info/ProviderEnrollment/doula/" TargetMode="External"/><Relationship Id="rId11" Type="http://schemas.openxmlformats.org/officeDocument/2006/relationships/image" Target="../media/image4.png"/><Relationship Id="rId5" Type="http://schemas.openxmlformats.org/officeDocument/2006/relationships/hyperlink" Target="https://www.emedny.org/ProviderManuals/Doula/PDFS/Doula_Policy_Guidelines.pdf" TargetMode="External"/><Relationship Id="rId10" Type="http://schemas.openxmlformats.org/officeDocument/2006/relationships/hyperlink" Target="https://www.emedny.org/training/videos.aspx" TargetMode="External"/><Relationship Id="rId4" Type="http://schemas.openxmlformats.org/officeDocument/2006/relationships/hyperlink" Target="https://www.emedny.org/ProviderManuals/Doula/PDFS/Doula_Billing_Guidelines.pdf" TargetMode="External"/><Relationship Id="rId9" Type="http://schemas.openxmlformats.org/officeDocument/2006/relationships/hyperlink" Target="https://www.emedny.org/training/PDf/doula_billing_part1.pdf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80EE09-7310-7DA2-78A8-8C06DD88B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E589E6-BBC8-5251-87E0-D30D9E183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0" y="2362200"/>
            <a:ext cx="6096000" cy="1621971"/>
          </a:xfrm>
        </p:spPr>
        <p:txBody>
          <a:bodyPr/>
          <a:lstStyle/>
          <a:p>
            <a:pPr algn="ctr"/>
            <a:r>
              <a:rPr lang="en-US" b="1" dirty="0"/>
              <a:t>Doula Services Provider Training </a:t>
            </a:r>
          </a:p>
          <a:p>
            <a:pPr algn="r"/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0B01F4-1ED0-7EA7-8FE4-8F0C7F49A6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r"/>
            <a:r>
              <a:rPr lang="en-US" sz="3200" b="1" dirty="0"/>
              <a:t>March 2026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ACE874-CC3A-3FBE-7140-A6C1084BF338}"/>
              </a:ext>
            </a:extLst>
          </p:cNvPr>
          <p:cNvSpPr txBox="1"/>
          <p:nvPr/>
        </p:nvSpPr>
        <p:spPr>
          <a:xfrm>
            <a:off x="4471416" y="6373368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PRV 26.034</a:t>
            </a:r>
          </a:p>
        </p:txBody>
      </p:sp>
    </p:spTree>
    <p:extLst>
      <p:ext uri="{BB962C8B-B14F-4D97-AF65-F5344CB8AC3E}">
        <p14:creationId xmlns:p14="http://schemas.microsoft.com/office/powerpoint/2010/main" val="3560644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F4255E-8FCE-CA31-F59F-643366622D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35034" y="-7"/>
            <a:ext cx="9547761" cy="1024136"/>
          </a:xfrm>
        </p:spPr>
        <p:txBody>
          <a:bodyPr/>
          <a:lstStyle/>
          <a:p>
            <a:pPr algn="ctr"/>
            <a:r>
              <a:rPr lang="en-US" sz="4400" b="1" dirty="0"/>
              <a:t>Overview of Doula Services</a:t>
            </a:r>
            <a:endParaRPr lang="en-US" sz="4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64132F-EEE4-7D92-233A-BEA0A706FF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8752" y="1377538"/>
            <a:ext cx="12073247" cy="4678878"/>
          </a:xfrm>
        </p:spPr>
        <p:txBody>
          <a:bodyPr/>
          <a:lstStyle/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As of March 1, 2024, the statewide doula services benefit covers all Medicaid fee-for-service and Medicaid Managed     Care enrollees in New York.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NYS Medicaid Members will be eligible for doula services up to 12 months after the end of pregnancy, regardless of pregnancy outcome.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Interested doulas can apply for enrollment with NYS Medicaid either through the Work Experience Pathway or Training Pathway. Pathway requirements can be reviewed </a:t>
            </a:r>
            <a:r>
              <a:rPr lang="en-US" sz="1700" u="sng" dirty="0">
                <a:hlinkClick r:id="rId2"/>
              </a:rPr>
              <a:t>here</a:t>
            </a:r>
            <a:r>
              <a:rPr lang="en-US" sz="1700" dirty="0"/>
              <a:t> or in the Doula Services Provider Manual. There is no deadline          to apply.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The Medicaid-enrolled doula services provider may be reimbursed for up to eight perinatal visits and one labor and     delivery encounter per pregnancy.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To become a doula services provider for NYS Medicaid Managed Care members, a doula must first enroll as a billing provider with the NYS Medicaid Fee-for-Service Program.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Once enrolled as a NYS Medicaid Fee-for-Service billing doula services provider, a doula can then reach out to the Managed Care Organizations (MCOs) to apply to join the MCO's doula provider network.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700" dirty="0"/>
              <a:t>For more information about the statewide doula services benefit, please visit: </a:t>
            </a:r>
            <a:r>
              <a:rPr lang="en-US" sz="1700" u="sng" dirty="0">
                <a:hlinkClick r:id="rId3"/>
              </a:rPr>
              <a:t>health.ny.gov/</a:t>
            </a:r>
            <a:r>
              <a:rPr lang="en-US" sz="1700" u="sng" dirty="0" err="1">
                <a:hlinkClick r:id="rId3"/>
              </a:rPr>
              <a:t>doulaproviders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4173483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A83C0F8-7B44-F6C2-173C-9CA9012C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41100" cy="900246"/>
          </a:xfrm>
        </p:spPr>
        <p:txBody>
          <a:bodyPr/>
          <a:lstStyle/>
          <a:p>
            <a:pPr algn="ctr"/>
            <a:r>
              <a:rPr lang="en-US" b="1" cap="none" dirty="0"/>
              <a:t>Required Enrollment, Training and Resources</a:t>
            </a:r>
            <a:endParaRPr lang="en-US" cap="none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03917E1-3455-9078-53B7-8B631C00D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D1851D62-CB14-F54B-CDB3-77F5825622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58784"/>
            <a:ext cx="11506200" cy="5599216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hlinkClick r:id="rId2"/>
              </a:rPr>
              <a:t>New York State Medicaid Doula Services Benefit (ny.gov)</a:t>
            </a:r>
            <a:r>
              <a:rPr lang="en-US" sz="1800" dirty="0"/>
              <a:t> </a:t>
            </a:r>
            <a:endParaRPr lang="en-US" altLang="en-US" sz="1800" b="1" dirty="0">
              <a:solidFill>
                <a:schemeClr val="tx1"/>
              </a:solidFill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hlinkClick r:id="rId3"/>
              </a:rPr>
              <a:t>Doula Manual</a:t>
            </a:r>
            <a:endParaRPr lang="en-US" sz="1800" dirty="0">
              <a:hlinkClick r:id="" action="ppaction://noaction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hlinkClick r:id="" action="ppaction://noaction"/>
              </a:rPr>
              <a:t>Doula Billing </a:t>
            </a:r>
            <a:r>
              <a:rPr lang="en-US" sz="1800" dirty="0">
                <a:hlinkClick r:id="rId4"/>
              </a:rPr>
              <a:t>Guidelines</a:t>
            </a:r>
            <a:endParaRPr lang="en-US" sz="18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u="sng" dirty="0">
                <a:hlinkClick r:id="rId5"/>
              </a:rPr>
              <a:t>Doula Policy Guidelines</a:t>
            </a:r>
            <a:endParaRPr lang="en-US" sz="1800" u="sng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u="sng" dirty="0">
                <a:hlinkClick r:id="rId6"/>
              </a:rPr>
              <a:t>Provider Enrollment – Doula</a:t>
            </a:r>
            <a:endParaRPr lang="en-US" sz="1800" u="sng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u="sng" dirty="0">
                <a:hlinkClick r:id="rId7"/>
              </a:rPr>
              <a:t>ENROLLMENT FORM</a:t>
            </a:r>
            <a:endParaRPr lang="en-US" sz="1800" dirty="0">
              <a:hlinkClick r:id="rId4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u="sng" dirty="0">
                <a:hlinkClick r:id="rId8"/>
              </a:rPr>
              <a:t>Doula Enrollment Instructions</a:t>
            </a:r>
            <a:endParaRPr lang="en-US" sz="1800" u="sng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altLang="en-US" sz="1800" dirty="0">
                <a:solidFill>
                  <a:schemeClr val="tx1"/>
                </a:solidFill>
                <a:ea typeface="Times New Roman" panose="02020603050405020304" pitchFamily="18" charset="0"/>
                <a:cs typeface="Calibri" panose="020F0502020204030204" pitchFamily="34" charset="0"/>
                <a:hlinkClick r:id="rId9"/>
              </a:rPr>
              <a:t>PDF Slides</a:t>
            </a:r>
            <a:r>
              <a:rPr lang="en-US" altLang="en-US" sz="1800" dirty="0">
                <a:solidFill>
                  <a:schemeClr val="tx1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  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u="sng" dirty="0">
                <a:hlinkClick r:id="rId10"/>
              </a:rPr>
              <a:t>All Provider Training Videos</a:t>
            </a:r>
            <a:r>
              <a:rPr lang="en-US" sz="1800" u="sng" dirty="0"/>
              <a:t>  </a:t>
            </a:r>
            <a:endParaRPr lang="en-US" sz="1800" dirty="0">
              <a:hlinkClick r:id="rId3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altLang="en-US" sz="1800" dirty="0">
              <a:solidFill>
                <a:schemeClr val="tx1"/>
              </a:solidFill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4" name="Picture 4">
            <a:hlinkClick r:id="rId9"/>
            <a:extLst>
              <a:ext uri="{FF2B5EF4-FFF2-40B4-BE49-F238E27FC236}">
                <a16:creationId xmlns:a16="http://schemas.microsoft.com/office/drawing/2014/main" id="{ACB8E81C-8F08-1A8B-92A6-01F2C9DE8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9201" y="4999514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movie clapper board and film reel&#10;&#10;AI-generated content may be incorrect.">
            <a:extLst>
              <a:ext uri="{FF2B5EF4-FFF2-40B4-BE49-F238E27FC236}">
                <a16:creationId xmlns:a16="http://schemas.microsoft.com/office/drawing/2014/main" id="{A3A6AA1D-5945-2419-31ED-9D1B36D443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852" y="5599216"/>
            <a:ext cx="419101" cy="419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3233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A55FC5-9E07-CAF0-A7A8-B1FF0D87F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683D71-7281-5238-A3A9-EA119E133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5F5114-652C-EA7C-B7D0-E8531F49F7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43625" y="2339439"/>
            <a:ext cx="5945456" cy="6507678"/>
          </a:xfrm>
        </p:spPr>
        <p:txBody>
          <a:bodyPr/>
          <a:lstStyle/>
          <a:p>
            <a:pPr algn="ctr">
              <a:spcBef>
                <a:spcPts val="0"/>
              </a:spcBef>
            </a:pPr>
            <a:r>
              <a:rPr lang="en-US" sz="4400" b="1" dirty="0">
                <a:solidFill>
                  <a:schemeClr val="accent3">
                    <a:lumMod val="10000"/>
                  </a:schemeClr>
                </a:solidFill>
              </a:rPr>
              <a:t>Thank you! </a:t>
            </a:r>
          </a:p>
          <a:p>
            <a:pPr algn="ctr">
              <a:spcBef>
                <a:spcPts val="0"/>
              </a:spcBef>
            </a:pPr>
            <a:r>
              <a:rPr lang="en-US" sz="4400" b="1" dirty="0">
                <a:solidFill>
                  <a:schemeClr val="accent3">
                    <a:lumMod val="10000"/>
                  </a:schemeClr>
                </a:solidFill>
              </a:rPr>
              <a:t>And Welcome to All Our MetroPlusHealth Doula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746663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MPH Gold">
  <a:themeElements>
    <a:clrScheme name="Metro Gold">
      <a:dk1>
        <a:srgbClr val="00080E"/>
      </a:dk1>
      <a:lt1>
        <a:sysClr val="window" lastClr="FFFFFF"/>
      </a:lt1>
      <a:dk2>
        <a:srgbClr val="FFCF31"/>
      </a:dk2>
      <a:lt2>
        <a:srgbClr val="FFFFFF"/>
      </a:lt2>
      <a:accent1>
        <a:srgbClr val="D8AE30"/>
      </a:accent1>
      <a:accent2>
        <a:srgbClr val="B1852C"/>
      </a:accent2>
      <a:accent3>
        <a:srgbClr val="9C6126"/>
      </a:accent3>
      <a:accent4>
        <a:srgbClr val="ED1C26"/>
      </a:accent4>
      <a:accent5>
        <a:srgbClr val="F15F23"/>
      </a:accent5>
      <a:accent6>
        <a:srgbClr val="A8CF3B"/>
      </a:accent6>
      <a:hlink>
        <a:srgbClr val="0065B2"/>
      </a:hlink>
      <a:folHlink>
        <a:srgbClr val="8E45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</TotalTime>
  <Words>262</Words>
  <Application>Microsoft Office PowerPoint</Application>
  <PresentationFormat>Widescreen</PresentationFormat>
  <Paragraphs>25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Times New Roman</vt:lpstr>
      <vt:lpstr>Wingdings</vt:lpstr>
      <vt:lpstr>MPH Gold</vt:lpstr>
      <vt:lpstr>PowerPoint Presentation</vt:lpstr>
      <vt:lpstr>PowerPoint Presentation</vt:lpstr>
      <vt:lpstr>Required Enrollment, Training and Resources</vt:lpstr>
      <vt:lpstr>PowerPoint Presentation</vt:lpstr>
    </vt:vector>
  </TitlesOfParts>
  <Company>Metroplus Health Pl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dle, Keli</dc:creator>
  <cp:lastModifiedBy>Soman, Kathryn</cp:lastModifiedBy>
  <cp:revision>3</cp:revision>
  <dcterms:created xsi:type="dcterms:W3CDTF">2026-03-05T16:21:45Z</dcterms:created>
  <dcterms:modified xsi:type="dcterms:W3CDTF">2026-03-17T17:41:09Z</dcterms:modified>
</cp:coreProperties>
</file>